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2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3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3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5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6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7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8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9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0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1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2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3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4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3747" r:id="rId3"/>
    <p:sldId id="3745" r:id="rId4"/>
    <p:sldId id="3761" r:id="rId5"/>
    <p:sldId id="3753" r:id="rId6"/>
    <p:sldId id="3755" r:id="rId7"/>
    <p:sldId id="3746" r:id="rId8"/>
    <p:sldId id="3758" r:id="rId9"/>
    <p:sldId id="3756" r:id="rId10"/>
    <p:sldId id="3757" r:id="rId11"/>
    <p:sldId id="3752" r:id="rId12"/>
    <p:sldId id="3748" r:id="rId13"/>
    <p:sldId id="3749" r:id="rId14"/>
    <p:sldId id="3750" r:id="rId15"/>
    <p:sldId id="3754" r:id="rId16"/>
  </p:sldIdLst>
  <p:sldSz cx="12192000" cy="6858000"/>
  <p:notesSz cx="6858000" cy="9144000"/>
  <p:embeddedFontLst>
    <p:embeddedFont>
      <p:font typeface="Century Gothic" panose="020B050202020202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6"/>
            <p14:sldId id="3747"/>
            <p14:sldId id="3745"/>
            <p14:sldId id="3761"/>
            <p14:sldId id="3753"/>
            <p14:sldId id="3755"/>
            <p14:sldId id="3746"/>
            <p14:sldId id="3758"/>
            <p14:sldId id="3756"/>
            <p14:sldId id="3757"/>
            <p14:sldId id="3752"/>
            <p14:sldId id="3748"/>
            <p14:sldId id="3749"/>
            <p14:sldId id="3750"/>
            <p14:sldId id="3754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F992A7-8BE6-C0C7-26FF-529BBF15606B}" name="Czuray, Marie" initials="MC" userId="S::marie.czuray@tuwien.ac.at::0775b6b4-9425-46a6-b70c-1e51a48cb73b" providerId="AD"/>
  <p188:author id="{8321DECE-CA26-5B7B-53E2-48C696E1573B}" name="Flicker, Katharina" initials="KF" userId="S::h0606185@s.wu.ac.at::8c498bb8-7874-4f8c-a141-1a438e7b4c3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A4C1"/>
    <a:srgbClr val="8DAFC9"/>
    <a:srgbClr val="6190B3"/>
    <a:srgbClr val="074A70"/>
    <a:srgbClr val="4C7B9E"/>
    <a:srgbClr val="3E6582"/>
    <a:srgbClr val="BAC7D5"/>
    <a:srgbClr val="456F90"/>
    <a:srgbClr val="8CA6BF"/>
    <a:srgbClr val="A4B7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183" autoAdjust="0"/>
    <p:restoredTop sz="95028" autoAdjust="0"/>
  </p:normalViewPr>
  <p:slideViewPr>
    <p:cSldViewPr snapToGrid="0" showGuides="1">
      <p:cViewPr varScale="1">
        <p:scale>
          <a:sx n="111" d="100"/>
          <a:sy n="111" d="100"/>
        </p:scale>
        <p:origin x="180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heme" Target="../theme/theme3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30.09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heme" Target="../theme/theme2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30.09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CAAD8EC-EFA3-5510-CE31-3672B9F73807}" type="slidenum">
              <a:rPr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B581CF-6DA7-619C-A31A-F57365021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990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C11E-4F8D-1584-831B-68F7E5BC2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9116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A260F5-FF39-58E1-AEBD-25B71951EE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0279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C22A0-44C0-4F51-3A86-FF8D37724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0044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1ADB7-6800-6BD2-F63F-63F92372A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07874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72A7C4-3F49-37DB-122A-D5FCCBC40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9643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FB0E7-D787-7D42-98ED-A2A72DD14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415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4798F-43D7-4DFC-60D2-C399B9CA8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971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623939-DEB8-2038-B84E-12BF6AA775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6515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ABB64-92CD-FCC2-65FA-AB3FFF470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30400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41100A-4A57-AD3A-8090-125B82467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663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81ABD-3580-5D8B-4290-0F6ED463F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35319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816F2-8DEE-CD55-FD73-4D6C6D04E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99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2.svg"/><Relationship Id="rId5" Type="http://schemas.openxmlformats.org/officeDocument/2006/relationships/tags" Target="../tags/tag58.xml"/><Relationship Id="rId10" Type="http://schemas.openxmlformats.org/officeDocument/2006/relationships/image" Target="../media/image1.png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4.xml"/><Relationship Id="rId7" Type="http://schemas.openxmlformats.org/officeDocument/2006/relationships/image" Target="../media/image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9.xml"/><Relationship Id="rId7" Type="http://schemas.openxmlformats.org/officeDocument/2006/relationships/image" Target="../media/image1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2.sv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8.xml"/><Relationship Id="rId7" Type="http://schemas.openxmlformats.org/officeDocument/2006/relationships/image" Target="../media/image1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9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9.sv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9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9.svg"/><Relationship Id="rId4" Type="http://schemas.openxmlformats.org/officeDocument/2006/relationships/tags" Target="../tags/tag125.xml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9.svg"/><Relationship Id="rId4" Type="http://schemas.openxmlformats.org/officeDocument/2006/relationships/tags" Target="../tags/tag132.xml"/><Relationship Id="rId9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image" Target="../media/image9.svg"/><Relationship Id="rId5" Type="http://schemas.openxmlformats.org/officeDocument/2006/relationships/tags" Target="../tags/tag140.xml"/><Relationship Id="rId10" Type="http://schemas.openxmlformats.org/officeDocument/2006/relationships/image" Target="../media/image8.png"/><Relationship Id="rId4" Type="http://schemas.openxmlformats.org/officeDocument/2006/relationships/tags" Target="../tags/tag139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46.xml"/><Relationship Id="rId7" Type="http://schemas.openxmlformats.org/officeDocument/2006/relationships/image" Target="../media/image8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51.xml"/><Relationship Id="rId7" Type="http://schemas.openxmlformats.org/officeDocument/2006/relationships/image" Target="../media/image8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9.sv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60.xml"/><Relationship Id="rId7" Type="http://schemas.openxmlformats.org/officeDocument/2006/relationships/image" Target="../media/image8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7.png"/><Relationship Id="rId5" Type="http://schemas.openxmlformats.org/officeDocument/2006/relationships/tags" Target="../tags/tag29.xml"/><Relationship Id="rId10" Type="http://schemas.openxmlformats.org/officeDocument/2006/relationships/image" Target="../media/image5.svg"/><Relationship Id="rId4" Type="http://schemas.openxmlformats.org/officeDocument/2006/relationships/tags" Target="../tags/tag28.xml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2.svg"/><Relationship Id="rId4" Type="http://schemas.openxmlformats.org/officeDocument/2006/relationships/tags" Target="../tags/tag42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svg"/><Relationship Id="rId5" Type="http://schemas.openxmlformats.org/officeDocument/2006/relationships/tags" Target="../tags/tag50.xml"/><Relationship Id="rId10" Type="http://schemas.openxmlformats.org/officeDocument/2006/relationships/image" Target="../media/image1.png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matchingName="Titelfolie" type="title" userDrawn="1">
  <p:cSld name="1_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/>
          <p:nvPr/>
        </p:nvSpPr>
        <p:spPr bwMode="auto">
          <a:xfrm>
            <a:off x="513456" y="974222"/>
            <a:ext cx="11162606" cy="3246941"/>
          </a:xfrm>
          <a:prstGeom prst="rect">
            <a:avLst/>
          </a:prstGeom>
          <a:gradFill>
            <a:gsLst>
              <a:gs pos="0">
                <a:srgbClr val="FF0000"/>
              </a:gs>
              <a:gs pos="10000">
                <a:srgbClr val="FF0020"/>
              </a:gs>
              <a:gs pos="49000">
                <a:srgbClr val="FF0066"/>
              </a:gs>
              <a:gs pos="100000">
                <a:srgbClr val="FF0066"/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Century Gothic"/>
              <a:buNone/>
              <a:defRPr/>
            </a:pPr>
            <a:endParaRPr sz="6000" b="0" i="0" u="none" strike="noStrike" cap="none">
              <a:solidFill>
                <a:srgbClr val="FFFFFF"/>
              </a:solidFill>
              <a:latin typeface="Century Gothic"/>
              <a:ea typeface="Century Gothic"/>
              <a:cs typeface="Century Gothic"/>
            </a:endParaRPr>
          </a:p>
        </p:txBody>
      </p:sp>
      <p:pic>
        <p:nvPicPr>
          <p:cNvPr id="22" name="Google Shape;22;p5"/>
          <p:cNvPicPr/>
          <p:nvPr/>
        </p:nvPicPr>
        <p:blipFill>
          <a:blip r:embed="rId2">
            <a:alphaModFix/>
          </a:blip>
          <a:stretch/>
        </p:blipFill>
        <p:spPr bwMode="auto">
          <a:xfrm>
            <a:off x="4405916" y="487985"/>
            <a:ext cx="3380167" cy="118089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/>
          <p:nvPr/>
        </p:nvSpPr>
        <p:spPr bwMode="auto">
          <a:xfrm>
            <a:off x="9733663" y="6153320"/>
            <a:ext cx="2430679" cy="61447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4" name="Google Shape;24;p5"/>
          <p:cNvSpPr txBox="1">
            <a:spLocks noGrp="1"/>
          </p:cNvSpPr>
          <p:nvPr>
            <p:ph type="ctrTitle"/>
          </p:nvPr>
        </p:nvSpPr>
        <p:spPr bwMode="auto">
          <a:xfrm>
            <a:off x="913604" y="1881188"/>
            <a:ext cx="10281387" cy="1973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500"/>
              <a:buFont typeface="Century Gothic"/>
              <a:buNone/>
              <a:defRPr sz="55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1"/>
          </p:nvPr>
        </p:nvSpPr>
        <p:spPr bwMode="auto">
          <a:xfrm>
            <a:off x="553604" y="4433475"/>
            <a:ext cx="11122459" cy="1206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33333"/>
              </a:buClr>
              <a:buSzPts val="2300"/>
              <a:buFont typeface="Arial"/>
              <a:buNone/>
              <a:defRPr sz="2300" b="0">
                <a:solidFill>
                  <a:srgbClr val="333333"/>
                </a:solidFill>
                <a:latin typeface="Century Gothic"/>
                <a:ea typeface="Century Gothic"/>
                <a:cs typeface="Century Gothic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/>
          </a:p>
        </p:txBody>
      </p:sp>
      <p:grpSp>
        <p:nvGrpSpPr>
          <p:cNvPr id="26" name="Google Shape;26;p5"/>
          <p:cNvGrpSpPr/>
          <p:nvPr/>
        </p:nvGrpSpPr>
        <p:grpSpPr bwMode="auto">
          <a:xfrm>
            <a:off x="0" y="6777037"/>
            <a:ext cx="12204000" cy="120151"/>
            <a:chOff x="0" y="6767793"/>
            <a:chExt cx="12204000" cy="129396"/>
          </a:xfrm>
        </p:grpSpPr>
        <p:sp>
          <p:nvSpPr>
            <p:cNvPr id="27" name="Google Shape;27;p5"/>
            <p:cNvSpPr/>
            <p:nvPr/>
          </p:nvSpPr>
          <p:spPr bwMode="auto">
            <a:xfrm>
              <a:off x="0" y="6767793"/>
              <a:ext cx="1440000" cy="129396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8" name="Google Shape;28;p5"/>
            <p:cNvSpPr/>
            <p:nvPr/>
          </p:nvSpPr>
          <p:spPr bwMode="auto">
            <a:xfrm>
              <a:off x="1440000" y="6767793"/>
              <a:ext cx="2880000" cy="129396"/>
            </a:xfrm>
            <a:prstGeom prst="rect">
              <a:avLst/>
            </a:prstGeom>
            <a:solidFill>
              <a:srgbClr val="FF006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9" name="Google Shape;29;p5"/>
            <p:cNvSpPr/>
            <p:nvPr/>
          </p:nvSpPr>
          <p:spPr bwMode="auto">
            <a:xfrm>
              <a:off x="4320000" y="6767793"/>
              <a:ext cx="7884000" cy="129396"/>
            </a:xfrm>
            <a:prstGeom prst="rect">
              <a:avLst/>
            </a:prstGeom>
            <a:solidFill>
              <a:srgbClr val="0333E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30" name="Google Shape;30;p5"/>
          <p:cNvSpPr/>
          <p:nvPr/>
        </p:nvSpPr>
        <p:spPr bwMode="auto">
          <a:xfrm>
            <a:off x="0" y="0"/>
            <a:ext cx="12204000" cy="2169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 bwMode="auto">
          <a:xfrm>
            <a:off x="8610600" y="6407432"/>
            <a:ext cx="883778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9pPr>
          </a:lstStyle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pPr>
            <a:fld id="{00000000-1234-1234-1234-123412341234}" type="slidenum">
              <a:rPr lang="de-AT"/>
              <a:t>‹#›</a:t>
            </a:fld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dt" idx="10"/>
          </p:nvPr>
        </p:nvSpPr>
        <p:spPr bwMode="auto">
          <a:xfrm>
            <a:off x="553604" y="6407432"/>
            <a:ext cx="2540678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ftr" idx="11"/>
          </p:nvPr>
        </p:nvSpPr>
        <p:spPr bwMode="auto">
          <a:xfrm>
            <a:off x="3213218" y="6407432"/>
            <a:ext cx="5272755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  <p:pic>
        <p:nvPicPr>
          <p:cNvPr id="7" name="Google Shape;34;p5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tretch/>
        </p:blipFill>
        <p:spPr bwMode="auto">
          <a:xfrm>
            <a:off x="9614395" y="6194853"/>
            <a:ext cx="2401718" cy="5760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8358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2A69E2-8479-4E6A-B1A1-E5FA2A5AF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37586" r="1579" b="54597"/>
          <a:stretch/>
        </p:blipFill>
        <p:spPr>
          <a:xfrm flipV="1">
            <a:off x="0" y="665966"/>
            <a:ext cx="12192000" cy="951554"/>
          </a:xfrm>
          <a:prstGeom prst="rect">
            <a:avLst/>
          </a:prstGeom>
        </p:spPr>
      </p:pic>
      <p:pic>
        <p:nvPicPr>
          <p:cNvPr id="15" name="Grafik 49" descr="Logo der Technischen Universität Wien">
            <a:extLst>
              <a:ext uri="{FF2B5EF4-FFF2-40B4-BE49-F238E27FC236}">
                <a16:creationId xmlns:a16="http://schemas.microsoft.com/office/drawing/2014/main" id="{4355EC75-B749-4CF1-BB6F-79836F907282}"/>
              </a:ext>
            </a:extLst>
          </p:cNvPr>
          <p:cNvPicPr/>
          <p:nvPr userDrawn="1">
            <p:custDataLst>
              <p:tags r:id="rId6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891640" y="78697"/>
            <a:ext cx="1121800" cy="4400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1DE7346-2017-4D5C-B896-CBC4CDAD7F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37586" r="1579" b="53993"/>
          <a:stretch/>
        </p:blipFill>
        <p:spPr>
          <a:xfrm>
            <a:off x="0" y="5826529"/>
            <a:ext cx="12192000" cy="1023158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C07B31E-47C3-4BBC-B935-79E99BA3B93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79426" y="6529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3F61AB-BAC6-4B5B-A256-9471EC50C52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86354" y="6528416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448D76-FC18-44B0-A72F-DE421C148014}"/>
              </a:ext>
            </a:extLst>
          </p:cNvPr>
          <p:cNvSpPr/>
          <p:nvPr userDrawn="1"/>
        </p:nvSpPr>
        <p:spPr>
          <a:xfrm>
            <a:off x="0" y="-33251"/>
            <a:ext cx="12192000" cy="699217"/>
          </a:xfrm>
          <a:prstGeom prst="rect">
            <a:avLst/>
          </a:prstGeom>
          <a:solidFill>
            <a:srgbClr val="0C385E"/>
          </a:solidFill>
          <a:ln>
            <a:solidFill>
              <a:srgbClr val="0C38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F9EDAB-C0CC-4192-6E2C-6B4C7E43177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79426" y="115133"/>
            <a:ext cx="1471497" cy="50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203" y="6529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8711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6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7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40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  <p:sldLayoutId id="2147483753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ercim-news.ercim.eu/images/stories/EN139/EN139-web.pdf" TargetMode="Externa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hyperlink" Target="http://www.doi.org/10.58865/13.14/243/7" TargetMode="External"/><Relationship Id="rId5" Type="http://schemas.openxmlformats.org/officeDocument/2006/relationships/hyperlink" Target="https://doi.org/10.31263/voebm.v74i2.6270" TargetMode="External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hyperlink" Target="https://open-science-cloud.ec.europa.eu/" TargetMode="Externa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zenodo.org/communities/eosc-austria/about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eosc-austria.at/newsletter/" TargetMode="Externa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hyperlink" Target="https://eosc-austria.at/events/" TargetMode="External"/><Relationship Id="rId5" Type="http://schemas.openxmlformats.org/officeDocument/2006/relationships/hyperlink" Target="https://eosc-austria.at/" TargetMode="External"/><Relationship Id="rId10" Type="http://schemas.openxmlformats.org/officeDocument/2006/relationships/hyperlink" Target="https://eosc-austria.at/join/" TargetMode="External"/><Relationship Id="rId4" Type="http://schemas.openxmlformats.org/officeDocument/2006/relationships/notesSlide" Target="../notesSlides/notesSlide12.xml"/><Relationship Id="rId9" Type="http://schemas.openxmlformats.org/officeDocument/2006/relationships/hyperlink" Target="https://eosc-austria.at/eosc-austria/governing-bodies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.eu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ww.zbw.eu/de/eosc-coffee-lectures" TargetMode="Externa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hyperlink" Target="https://zenodo.org/communities/eosc-austria/about" TargetMode="External"/><Relationship Id="rId5" Type="http://schemas.openxmlformats.org/officeDocument/2006/relationships/hyperlink" Target="https://eosc-austria.at/" TargetMode="External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.eu/building-the-eosc-federation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podcast.zbw.eu/fos/2024/12/18/fos-46-eosc-eu-node/" TargetMode="Externa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hyperlink" Target="https://open-science-cloud.ec.europa.eu/services" TargetMode="External"/><Relationship Id="rId5" Type="http://schemas.openxmlformats.org/officeDocument/2006/relationships/hyperlink" Target="https://open-science-cloud.ec.europa.eu/" TargetMode="External"/><Relationship Id="rId4" Type="http://schemas.openxmlformats.org/officeDocument/2006/relationships/notesSlide" Target="../notesSlides/notesSlide15.xml"/><Relationship Id="rId9" Type="http://schemas.openxmlformats.org/officeDocument/2006/relationships/hyperlink" Target="https://eosc.eu/sria-mar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8.jp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png"/><Relationship Id="rId2" Type="http://schemas.openxmlformats.org/officeDocument/2006/relationships/tags" Target="../tags/tag187.xml"/><Relationship Id="rId16" Type="http://schemas.openxmlformats.org/officeDocument/2006/relationships/image" Target="../media/image23.png"/><Relationship Id="rId20" Type="http://schemas.openxmlformats.org/officeDocument/2006/relationships/image" Target="../media/image27.jpg"/><Relationship Id="rId1" Type="http://schemas.openxmlformats.org/officeDocument/2006/relationships/tags" Target="../tags/tag186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24" Type="http://schemas.openxmlformats.org/officeDocument/2006/relationships/image" Target="../media/image31.jpg"/><Relationship Id="rId5" Type="http://schemas.openxmlformats.org/officeDocument/2006/relationships/image" Target="../media/image12.png"/><Relationship Id="rId15" Type="http://schemas.openxmlformats.org/officeDocument/2006/relationships/image" Target="../media/image22.jpg"/><Relationship Id="rId23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29.png"/><Relationship Id="rId27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-austria.at/newsletter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zenodo.org/records/13860938" TargetMode="Externa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hyperlink" Target="https://zenodo.org/records/8063171" TargetMode="External"/><Relationship Id="rId5" Type="http://schemas.openxmlformats.org/officeDocument/2006/relationships/hyperlink" Target="https://zenodo.org/records/13839287" TargetMode="Externa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zenodo.org/records/14745686" TargetMode="Externa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hyperlink" Target="https://zenodo.org/communities/wgreaeoscsoa/records?q=&amp;l=list&amp;p=1&amp;s=10&amp;sort=newest" TargetMode="External"/><Relationship Id="rId5" Type="http://schemas.openxmlformats.org/officeDocument/2006/relationships/hyperlink" Target="https://eosc-austria.at/eosc-soa-materials/" TargetMode="Externa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de-AT" dirty="0"/>
              <a:t>EOSC Support Office Austria</a:t>
            </a:r>
            <a:br>
              <a:rPr lang="de-AT" dirty="0"/>
            </a:br>
            <a:endParaRPr lang="de-AT" sz="290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885432F-84CD-5286-93B3-45C601395747}"/>
              </a:ext>
            </a:extLst>
          </p:cNvPr>
          <p:cNvSpPr txBox="1">
            <a:spLocks/>
          </p:cNvSpPr>
          <p:nvPr/>
        </p:nvSpPr>
        <p:spPr bwMode="auto">
          <a:xfrm>
            <a:off x="513457" y="4562475"/>
            <a:ext cx="10833994" cy="150018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rmAutofit/>
          </a:bodyPr>
          <a:lstStyle>
            <a:lvl1pPr marL="270000" marR="0" lvl="0" indent="-2700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33333"/>
              </a:buClr>
              <a:buSzPts val="2300"/>
              <a:buFont typeface="Arial"/>
              <a:buNone/>
              <a:defRPr sz="2300" b="0" kern="1200">
                <a:solidFill>
                  <a:srgbClr val="333333"/>
                </a:solidFill>
                <a:latin typeface="Century Gothic"/>
                <a:ea typeface="Century Gothic"/>
                <a:cs typeface="Century Gothic"/>
              </a:defRPr>
            </a:lvl1pPr>
            <a:lvl2pPr marL="533400" lvl="1" indent="-271463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2000"/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lvl="2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8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lvl="3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lvl="4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333E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EOSC SOA Secretariat</a:t>
            </a:r>
          </a:p>
          <a:p>
            <a:r>
              <a:rPr lang="en-US" sz="2400" dirty="0">
                <a:solidFill>
                  <a:srgbClr val="0333E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Q1/2 2025 </a:t>
            </a:r>
            <a:endParaRPr lang="de-AT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69BBD-52E1-319F-D28B-FFF0B30EC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4561191-4E61-F250-D301-ABAF85B2B50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5E062F3-66E3-9B42-B20F-884FD0E9B896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1D46B4-F3C8-70AE-3258-5FB45E4A0CFB}"/>
              </a:ext>
            </a:extLst>
          </p:cNvPr>
          <p:cNvSpPr txBox="1"/>
          <p:nvPr/>
        </p:nvSpPr>
        <p:spPr>
          <a:xfrm>
            <a:off x="204664" y="2430379"/>
            <a:ext cx="11647025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500" dirty="0"/>
              <a:t>Publikatione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 err="1"/>
              <a:t>Blumesberger</a:t>
            </a:r>
            <a:r>
              <a:rPr lang="de-DE" sz="2200" dirty="0"/>
              <a:t>, S., et al. (2021): Die österreichische EOSC </a:t>
            </a:r>
            <a:r>
              <a:rPr lang="de-DE" sz="2200" dirty="0" err="1"/>
              <a:t>Mandated</a:t>
            </a:r>
            <a:r>
              <a:rPr lang="de-DE" sz="2200" dirty="0"/>
              <a:t> Organisation / Das EOSC Support Office Austria, in VÖB, </a:t>
            </a:r>
            <a:r>
              <a:rPr lang="de-DE" sz="2200" dirty="0" err="1"/>
              <a:t>no</a:t>
            </a:r>
            <a:r>
              <a:rPr lang="de-DE" sz="2200" dirty="0"/>
              <a:t>. 74/2, 143-162. 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31263/voebm.v74i2.6270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Feigl, C., Flicker, K., </a:t>
            </a:r>
            <a:r>
              <a:rPr lang="de-DE" sz="2200" dirty="0" err="1"/>
              <a:t>Gänsdorfer</a:t>
            </a:r>
            <a:r>
              <a:rPr lang="de-DE" sz="2200" dirty="0"/>
              <a:t>, N., Korth, F., Rainer, H., </a:t>
            </a:r>
            <a:r>
              <a:rPr lang="de-DE" sz="2200" dirty="0" err="1"/>
              <a:t>Vohland</a:t>
            </a:r>
            <a:r>
              <a:rPr lang="de-DE" sz="2200" dirty="0"/>
              <a:t>, K. (2024): European Open Science Cloud (EOSC) – Europäische Forschungsinfrastrukturen für nationale Museumssammlungen?, in </a:t>
            </a:r>
            <a:r>
              <a:rPr lang="de-DE" sz="2200" i="1" dirty="0"/>
              <a:t>neues </a:t>
            </a:r>
            <a:r>
              <a:rPr lang="de-DE" sz="2200" i="1" dirty="0" err="1"/>
              <a:t>museum</a:t>
            </a:r>
            <a:r>
              <a:rPr lang="de-DE" sz="2200" dirty="0"/>
              <a:t>, </a:t>
            </a:r>
            <a:r>
              <a:rPr lang="de-DE" sz="2200" dirty="0" err="1"/>
              <a:t>no</a:t>
            </a:r>
            <a:r>
              <a:rPr lang="de-DE" sz="2200" dirty="0"/>
              <a:t>. 24/3.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oi.org/10.58865/13.14/243/7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Flicker, K., </a:t>
            </a:r>
            <a:r>
              <a:rPr lang="de-DE" sz="2200" dirty="0" err="1"/>
              <a:t>Hanslik</a:t>
            </a:r>
            <a:r>
              <a:rPr lang="de-DE" sz="2200" dirty="0"/>
              <a:t>, S., </a:t>
            </a:r>
            <a:r>
              <a:rPr lang="de-DE" sz="2200" dirty="0" err="1"/>
              <a:t>Kalová</a:t>
            </a:r>
            <a:r>
              <a:rPr lang="de-DE" sz="2200" dirty="0"/>
              <a:t>, T. (2024): </a:t>
            </a:r>
            <a:r>
              <a:rPr lang="en-US" sz="2200" dirty="0"/>
              <a:t>Advancing Research: The Role of the EOSC and EOSC Support Office Austria</a:t>
            </a:r>
            <a:r>
              <a:rPr lang="de-DE" sz="2200" dirty="0"/>
              <a:t>, in </a:t>
            </a:r>
            <a:r>
              <a:rPr lang="de-DE" sz="2200" i="1" dirty="0"/>
              <a:t>ERCIM News</a:t>
            </a:r>
            <a:r>
              <a:rPr lang="de-DE" sz="2200" dirty="0"/>
              <a:t>, </a:t>
            </a:r>
            <a:r>
              <a:rPr lang="de-DE" sz="2200" dirty="0" err="1"/>
              <a:t>no</a:t>
            </a:r>
            <a:r>
              <a:rPr lang="de-DE" sz="2200" dirty="0"/>
              <a:t>. 139, 52-53.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rcim-news.ercim.eu/images/stories/EN139/EN139-web.pdf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rgbClr val="8DAFC9"/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925606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B2F500-DB6F-F78B-6012-0F1E384D11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6E47081-255B-BAC5-636C-84389A4298B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Nächste Schritt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A629FD4-E5B6-0B54-7D78-1ECE19567412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040E63-09EF-C032-4D62-28BC95EADF43}"/>
              </a:ext>
            </a:extLst>
          </p:cNvPr>
          <p:cNvSpPr txBox="1"/>
          <p:nvPr/>
        </p:nvSpPr>
        <p:spPr>
          <a:xfrm>
            <a:off x="204664" y="2430379"/>
            <a:ext cx="11647025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AT" sz="2300" dirty="0">
                <a:solidFill>
                  <a:schemeClr val="accent6"/>
                </a:solidFill>
              </a:rPr>
              <a:t>EOSC Nodes </a:t>
            </a:r>
            <a:r>
              <a:rPr lang="de-AT" sz="2300" dirty="0"/>
              <a:t>entstehen: </a:t>
            </a:r>
            <a:r>
              <a:rPr lang="de-AT" sz="23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</a:t>
            </a:r>
            <a:r>
              <a:rPr lang="de-AT" sz="2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de-DE" sz="23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DE" sz="2300" dirty="0"/>
          </a:p>
          <a:p>
            <a:pPr algn="just"/>
            <a:r>
              <a:rPr lang="de-DE" sz="2300" dirty="0"/>
              <a:t>Der </a:t>
            </a:r>
            <a:r>
              <a:rPr lang="de-DE" sz="2300" dirty="0">
                <a:solidFill>
                  <a:schemeClr val="accent6"/>
                </a:solidFill>
              </a:rPr>
              <a:t>EOSC EU Node </a:t>
            </a:r>
            <a:r>
              <a:rPr lang="de-DE" sz="2300" dirty="0"/>
              <a:t>ist der erste Knotenpunkt auf europäischer Ebene und dient als eine Art Mustervorlage. Diese Entwicklung entsteht im Kontext der EOSC-Föderation, die als ein </a:t>
            </a:r>
            <a:r>
              <a:rPr lang="de-DE" sz="2300" dirty="0">
                <a:solidFill>
                  <a:schemeClr val="accent6"/>
                </a:solidFill>
              </a:rPr>
              <a:t>Netz miteinander verbundener autonomer EOSC Nodes </a:t>
            </a:r>
            <a:r>
              <a:rPr lang="de-DE" sz="2300" dirty="0"/>
              <a:t>geplant ist. Alle Nodes sollten unter einem gemeinsamen Rahmen von Standards, Richtlinien und bewährten Verfahren arbeiten.</a:t>
            </a:r>
          </a:p>
          <a:p>
            <a:pPr algn="just"/>
            <a:endParaRPr lang="de-DE" sz="2300" dirty="0"/>
          </a:p>
          <a:p>
            <a:pPr algn="just"/>
            <a:r>
              <a:rPr lang="de-DE" sz="2300" dirty="0"/>
              <a:t>Das EOSC SOA wird (neben bisherigen Aktivitäten) aktiv bei der </a:t>
            </a:r>
            <a:r>
              <a:rPr lang="de-DE" sz="2300" dirty="0">
                <a:solidFill>
                  <a:schemeClr val="accent6"/>
                </a:solidFill>
              </a:rPr>
              <a:t>Planung, Errichtung und Beobachtung</a:t>
            </a:r>
            <a:r>
              <a:rPr lang="de-DE" sz="2300" dirty="0"/>
              <a:t> solcher Nodes in Österreich unterstützen.</a:t>
            </a:r>
            <a:endParaRPr lang="de-AT" sz="2300" dirty="0"/>
          </a:p>
        </p:txBody>
      </p:sp>
    </p:spTree>
    <p:extLst>
      <p:ext uri="{BB962C8B-B14F-4D97-AF65-F5344CB8AC3E}">
        <p14:creationId xmlns:p14="http://schemas.microsoft.com/office/powerpoint/2010/main" val="235526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F65F01-2B0E-8C51-9884-F11725CDF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3C1E81F-446F-D22A-5419-594C339FF7E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Möglichkeiten der Teilnahm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724648BA-5027-EEFC-B3EE-598150ADC86F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033D3D-F4D9-FECC-7A96-9372578E7113}"/>
              </a:ext>
            </a:extLst>
          </p:cNvPr>
          <p:cNvSpPr txBox="1"/>
          <p:nvPr/>
        </p:nvSpPr>
        <p:spPr>
          <a:xfrm>
            <a:off x="204665" y="2430379"/>
            <a:ext cx="537698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/>
              <a:t>Informieren Sie sich auf unserer </a:t>
            </a:r>
            <a:r>
              <a:rPr lang="de-DE" sz="2200" dirty="0">
                <a:solidFill>
                  <a:schemeClr val="accent6"/>
                </a:solidFill>
              </a:rPr>
              <a:t>Website</a:t>
            </a:r>
            <a:r>
              <a:rPr lang="de-DE" sz="2200" dirty="0"/>
              <a:t>: 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/>
              <a:t>Bewerben Sie Ihre EOSC-relevanten </a:t>
            </a:r>
            <a:r>
              <a:rPr lang="de-DE" sz="2200" dirty="0">
                <a:solidFill>
                  <a:schemeClr val="accent6"/>
                </a:solidFill>
              </a:rPr>
              <a:t>Events</a:t>
            </a:r>
            <a:r>
              <a:rPr lang="de-DE" sz="2200" dirty="0"/>
              <a:t>: 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vents/</a:t>
            </a: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Abonnieren Sie den EOSC SOA </a:t>
            </a:r>
            <a:r>
              <a:rPr lang="de-DE" sz="2200" dirty="0">
                <a:solidFill>
                  <a:schemeClr val="accent6"/>
                </a:solidFill>
              </a:rPr>
              <a:t>Newsletter</a:t>
            </a:r>
            <a:r>
              <a:rPr lang="de-DE" sz="2200" dirty="0"/>
              <a:t>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newsletter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70A7D3-E466-692F-2498-526E3E5D2C32}"/>
              </a:ext>
            </a:extLst>
          </p:cNvPr>
          <p:cNvSpPr txBox="1"/>
          <p:nvPr/>
        </p:nvSpPr>
        <p:spPr>
          <a:xfrm>
            <a:off x="6096000" y="2430379"/>
            <a:ext cx="537698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Entdecken Sie unsere </a:t>
            </a:r>
            <a:r>
              <a:rPr lang="de-DE" sz="2200" dirty="0" err="1">
                <a:solidFill>
                  <a:schemeClr val="accent6"/>
                </a:solidFill>
              </a:rPr>
              <a:t>Zenodo</a:t>
            </a:r>
            <a:r>
              <a:rPr lang="de-DE" sz="2200" dirty="0"/>
              <a:t> Community (EOSC Austria)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eosc-austria/about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Treffen Sie uns im </a:t>
            </a:r>
            <a:r>
              <a:rPr lang="de-DE" sz="2200" dirty="0">
                <a:solidFill>
                  <a:schemeClr val="accent6"/>
                </a:solidFill>
              </a:rPr>
              <a:t>EOSC Café</a:t>
            </a:r>
            <a:r>
              <a:rPr lang="de-DE" sz="2200" dirty="0"/>
              <a:t>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osc-austria/governing-bodies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Werden Sie </a:t>
            </a:r>
            <a:r>
              <a:rPr lang="de-DE" sz="2200" dirty="0">
                <a:solidFill>
                  <a:schemeClr val="accent6"/>
                </a:solidFill>
              </a:rPr>
              <a:t>Mitglied</a:t>
            </a:r>
            <a:r>
              <a:rPr lang="de-DE" sz="2200" dirty="0"/>
              <a:t>: 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join/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869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1B45C-D252-CD59-DC37-6360386CA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5C30431-421D-2689-93FD-CD5C226CAF7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Mitgliedschaft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A614F936-3D34-1865-9F0E-2A5D6FDE84FB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C24ED9-56FB-DF48-8DD7-3912042BD18B}"/>
              </a:ext>
            </a:extLst>
          </p:cNvPr>
          <p:cNvSpPr txBox="1"/>
          <p:nvPr/>
        </p:nvSpPr>
        <p:spPr>
          <a:xfrm>
            <a:off x="204664" y="2430379"/>
            <a:ext cx="1164702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Die EOSC SOA-Mitgliedschaft ist </a:t>
            </a:r>
            <a:r>
              <a:rPr lang="de-DE" sz="2500" b="1" dirty="0">
                <a:solidFill>
                  <a:schemeClr val="accent6"/>
                </a:solidFill>
              </a:rPr>
              <a:t>kostenlo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Partner / Mitglieder unterzeichnen ein </a:t>
            </a:r>
            <a:r>
              <a:rPr lang="de-DE" sz="2500" dirty="0">
                <a:solidFill>
                  <a:schemeClr val="accent6"/>
                </a:solidFill>
              </a:rPr>
              <a:t>Memorandum </a:t>
            </a:r>
            <a:r>
              <a:rPr lang="de-DE" sz="2500" dirty="0" err="1">
                <a:solidFill>
                  <a:schemeClr val="accent6"/>
                </a:solidFill>
              </a:rPr>
              <a:t>of</a:t>
            </a:r>
            <a:r>
              <a:rPr lang="de-DE" sz="2500" dirty="0">
                <a:solidFill>
                  <a:schemeClr val="accent6"/>
                </a:solidFill>
              </a:rPr>
              <a:t> Understanding </a:t>
            </a:r>
            <a:r>
              <a:rPr lang="de-DE" sz="2500" dirty="0"/>
              <a:t>(</a:t>
            </a:r>
            <a:r>
              <a:rPr lang="de-DE" sz="2500" dirty="0" err="1"/>
              <a:t>MoU</a:t>
            </a:r>
            <a:r>
              <a:rPr lang="de-DE" sz="2500" dirty="0"/>
              <a:t>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Es gibt Partner und außergewöhnliche Partner: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/>
                </a:solidFill>
              </a:rPr>
              <a:t>Partner</a:t>
            </a:r>
            <a:r>
              <a:rPr lang="de-DE" sz="2200" dirty="0"/>
              <a:t> sind Mitglieder und Beobachter der EOSC </a:t>
            </a:r>
            <a:r>
              <a:rPr lang="de-DE" sz="2200" dirty="0" err="1"/>
              <a:t>Association</a:t>
            </a:r>
            <a:r>
              <a:rPr lang="de-DE" sz="2200" dirty="0"/>
              <a:t>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/>
                </a:solidFill>
              </a:rPr>
              <a:t>Außerordentliche Partner </a:t>
            </a:r>
            <a:r>
              <a:rPr lang="de-DE" sz="2200" dirty="0"/>
              <a:t>sind weder Mitglied noch Beobachter der EOSC </a:t>
            </a:r>
            <a:r>
              <a:rPr lang="de-DE" sz="2200" dirty="0" err="1"/>
              <a:t>Association</a:t>
            </a:r>
            <a:r>
              <a:rPr lang="de-DE" sz="2200" dirty="0"/>
              <a:t> </a:t>
            </a:r>
          </a:p>
          <a:p>
            <a:pPr algn="just"/>
            <a:endParaRPr lang="de-DE" sz="2500" dirty="0"/>
          </a:p>
          <a:p>
            <a:pPr algn="just"/>
            <a:r>
              <a:rPr lang="de-DE" sz="2500" dirty="0"/>
              <a:t>Es ist also möglich, EOSC SOA Partner / Mitglied zu werden, ohne der EOSC </a:t>
            </a:r>
            <a:r>
              <a:rPr lang="de-DE" sz="2500" dirty="0" err="1"/>
              <a:t>Association</a:t>
            </a:r>
            <a:r>
              <a:rPr lang="de-DE" sz="2500" dirty="0"/>
              <a:t> anzugehören. </a:t>
            </a:r>
            <a:r>
              <a:rPr lang="de-DE" sz="2500" dirty="0">
                <a:solidFill>
                  <a:schemeClr val="accent6"/>
                </a:solidFill>
              </a:rPr>
              <a:t>Schreiben Sie uns: </a:t>
            </a:r>
            <a:r>
              <a:rPr lang="de-DE" sz="2500" b="1" dirty="0">
                <a:solidFill>
                  <a:schemeClr val="accent6"/>
                </a:solidFill>
              </a:rPr>
              <a:t>contact@eosc-austria.at</a:t>
            </a:r>
            <a:r>
              <a:rPr lang="de-DE" sz="2500" dirty="0"/>
              <a:t>.</a:t>
            </a:r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691081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127FE0-4C6A-889B-2F4D-E61CB2135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72D6F4B-729B-7EA8-DD59-29A9505FF34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Weiterführende Links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597B9828-912E-DA2C-20F0-B1D8B1A01574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317D4C-75D5-34E9-8435-49898B010985}"/>
              </a:ext>
            </a:extLst>
          </p:cNvPr>
          <p:cNvSpPr txBox="1"/>
          <p:nvPr/>
        </p:nvSpPr>
        <p:spPr>
          <a:xfrm>
            <a:off x="204664" y="2430379"/>
            <a:ext cx="11647025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EOSC SOA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eosc-austria/about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1" algn="just">
              <a:buClr>
                <a:schemeClr val="tx1"/>
              </a:buClr>
            </a:pPr>
            <a:r>
              <a:rPr lang="de-DE" sz="2200" dirty="0">
                <a:solidFill>
                  <a:srgbClr val="8DAFC9"/>
                </a:solidFill>
              </a:rPr>
              <a:t> 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Was ist die EOSC?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zbw.eu/de/eosc-coffee-lectures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lvl="1" algn="just">
              <a:buClr>
                <a:schemeClr val="tx1"/>
              </a:buClr>
            </a:pPr>
            <a:endParaRPr lang="de-DE" sz="2200" dirty="0">
              <a:solidFill>
                <a:srgbClr val="8DAFC9"/>
              </a:solidFill>
            </a:endParaRP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EOSC </a:t>
            </a:r>
            <a:r>
              <a:rPr lang="de-DE" sz="2500" dirty="0" err="1"/>
              <a:t>Association</a:t>
            </a:r>
            <a:r>
              <a:rPr lang="de-DE" sz="2500" dirty="0"/>
              <a:t>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4772827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5EB31-DD58-5ED9-6E7A-EE7249468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34D0AF-8877-7C34-AEE0-7DDF0DCE2A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Weiterführende Links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4A22E000-9742-D63D-F987-58263CE59A5F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55249E-53C7-663A-BC22-55C1E19AE4DA}"/>
              </a:ext>
            </a:extLst>
          </p:cNvPr>
          <p:cNvSpPr txBox="1"/>
          <p:nvPr/>
        </p:nvSpPr>
        <p:spPr>
          <a:xfrm>
            <a:off x="204664" y="2430379"/>
            <a:ext cx="11647025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EOSC Nodes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services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odcast.zbw.eu/fos/2024/12/18/fos-46-eosc-eu-node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1" algn="just"/>
            <a:endParaRPr lang="de-DE" sz="22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Strategische Entwicklungspläne: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building-the-eosc-federation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sria-mar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2798394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5EEF4F-3CE8-77B7-3BD6-2082EC66B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8AA079F-026A-E4CD-CDBA-3D4D0DBF214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Überblick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D81CE6D7-D60D-AF7E-3F45-41636311C92A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3EECBB-80FB-2B7F-8CCD-0E671C76F68B}"/>
              </a:ext>
            </a:extLst>
          </p:cNvPr>
          <p:cNvSpPr txBox="1"/>
          <p:nvPr/>
        </p:nvSpPr>
        <p:spPr>
          <a:xfrm>
            <a:off x="204664" y="2430379"/>
            <a:ext cx="11647025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Vision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Umsetzung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Ziel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Angebot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Partner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Bisherige Ergebniss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Nächste Schritt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Möglichkeiten der Teilnahm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Mitgliedschaft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Weiterführende Link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806624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8EFD07-3B9E-403A-9444-57DE703B50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Vision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7823C7C2-A182-4456-B5CB-8460FFE42AC5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E861DD-A70B-1AE9-59F8-975C369D72C6}"/>
              </a:ext>
            </a:extLst>
          </p:cNvPr>
          <p:cNvSpPr txBox="1"/>
          <p:nvPr/>
        </p:nvSpPr>
        <p:spPr>
          <a:xfrm>
            <a:off x="204664" y="2430379"/>
            <a:ext cx="11647025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80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Aptos" panose="020B0004020202020204" pitchFamily="34" charset="0"/>
              </a:rPr>
              <a:t> </a:t>
            </a:r>
            <a:endParaRPr lang="de-AT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de-AT" sz="2800" dirty="0"/>
              <a:t>Die </a:t>
            </a:r>
            <a:r>
              <a:rPr lang="de-AT" sz="2800" b="1" dirty="0">
                <a:solidFill>
                  <a:schemeClr val="accent6"/>
                </a:solidFill>
              </a:rPr>
              <a:t>European Open Science Cloud (EOSC) </a:t>
            </a:r>
            <a:r>
              <a:rPr lang="de-AT" sz="2800" dirty="0"/>
              <a:t>schafft ein </a:t>
            </a:r>
            <a:r>
              <a:rPr lang="de-AT" sz="2800" dirty="0">
                <a:solidFill>
                  <a:schemeClr val="accent6"/>
                </a:solidFill>
              </a:rPr>
              <a:t>föderiertes System </a:t>
            </a:r>
            <a:r>
              <a:rPr lang="de-AT" sz="2800" dirty="0"/>
              <a:t>bestehend aus </a:t>
            </a:r>
            <a:r>
              <a:rPr lang="de-AT" sz="2800" dirty="0">
                <a:solidFill>
                  <a:schemeClr val="accent6"/>
                </a:solidFill>
              </a:rPr>
              <a:t>multidisziplinären Forschungsinfrastrukturen</a:t>
            </a:r>
            <a:r>
              <a:rPr lang="de-AT" sz="2800" dirty="0"/>
              <a:t>. Das dient der </a:t>
            </a:r>
            <a:r>
              <a:rPr lang="de-AT" sz="2800" dirty="0">
                <a:solidFill>
                  <a:schemeClr val="accent6"/>
                </a:solidFill>
              </a:rPr>
              <a:t>gemeinsamen Nutzung von Daten und Services </a:t>
            </a:r>
            <a:r>
              <a:rPr lang="de-AT" sz="2800" dirty="0"/>
              <a:t>für Forschung, Industrie und Bildung über Grenzen und Disziplinen hinweg.</a:t>
            </a:r>
          </a:p>
          <a:p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3312576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88085-357C-3469-F0FE-BBD136630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92F0E7F-CF51-F820-73FA-DBBE31EB74A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Umsetzung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9BA092C-4C2B-F98B-E070-584F71A48510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BBCFC-28BF-0A94-C3DF-1798EE0A0063}"/>
              </a:ext>
            </a:extLst>
          </p:cNvPr>
          <p:cNvSpPr txBox="1"/>
          <p:nvPr/>
        </p:nvSpPr>
        <p:spPr>
          <a:xfrm>
            <a:off x="204664" y="2430379"/>
            <a:ext cx="1164702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dirty="0"/>
              <a:t>EU: 2020 wurde auf europäischer Ebene die </a:t>
            </a:r>
            <a:r>
              <a:rPr lang="de-AT" sz="2400" b="1" dirty="0">
                <a:solidFill>
                  <a:schemeClr val="accent6"/>
                </a:solidFill>
              </a:rPr>
              <a:t>EOSC Association </a:t>
            </a:r>
            <a:r>
              <a:rPr lang="de-AT" sz="2400" dirty="0"/>
              <a:t>gegründet, um die systematische und strukturierte Weiterentwicklung der EOSC zu ermöglichen.</a:t>
            </a:r>
          </a:p>
          <a:p>
            <a:endParaRPr lang="de-AT" sz="2400" dirty="0"/>
          </a:p>
          <a:p>
            <a:r>
              <a:rPr lang="de-AT" sz="2400" dirty="0"/>
              <a:t>AT: Im </a:t>
            </a:r>
            <a:r>
              <a:rPr lang="de-AT" sz="2400" dirty="0">
                <a:solidFill>
                  <a:schemeClr val="accent6"/>
                </a:solidFill>
              </a:rPr>
              <a:t>nationalen Aktionsplan </a:t>
            </a:r>
            <a:r>
              <a:rPr lang="de-AT" sz="2400" dirty="0"/>
              <a:t>des BMBWF (ERA-NAP 2022-2025) wurden Schritte zur Umsetzung der EOSC-Aktivitäten in Österreich definiert.  </a:t>
            </a:r>
          </a:p>
          <a:p>
            <a:endParaRPr lang="de-DE" sz="2400" dirty="0"/>
          </a:p>
          <a:p>
            <a:r>
              <a:rPr lang="de-AT" sz="2400" dirty="0"/>
              <a:t>Institutionsübergreifend</a:t>
            </a:r>
            <a:r>
              <a:rPr lang="de-DE" sz="2400" dirty="0"/>
              <a:t>: Das </a:t>
            </a:r>
            <a:r>
              <a:rPr lang="de-DE" sz="2400" b="1" dirty="0">
                <a:solidFill>
                  <a:schemeClr val="accent6"/>
                </a:solidFill>
              </a:rPr>
              <a:t>EOSC Support Office Austria (EOSC SOA)</a:t>
            </a:r>
            <a:r>
              <a:rPr lang="de-AT" sz="240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 </a:t>
            </a:r>
            <a:r>
              <a:rPr lang="de-DE" sz="2400" dirty="0"/>
              <a:t>unterstützt nationale </a:t>
            </a:r>
            <a:r>
              <a:rPr lang="de-DE" sz="2400" dirty="0">
                <a:solidFill>
                  <a:schemeClr val="accent6"/>
                </a:solidFill>
              </a:rPr>
              <a:t>Forschungseinrichtungen. </a:t>
            </a:r>
            <a:r>
              <a:rPr lang="de-DE" sz="2400" dirty="0"/>
              <a:t>Sie ist </a:t>
            </a:r>
            <a:r>
              <a:rPr lang="de-AT" sz="2400" dirty="0"/>
              <a:t>die operative Einheit der </a:t>
            </a:r>
            <a:r>
              <a:rPr lang="de-AT" sz="2400" dirty="0">
                <a:solidFill>
                  <a:schemeClr val="accent6"/>
                </a:solidFill>
              </a:rPr>
              <a:t>Austrian EOSC </a:t>
            </a:r>
            <a:r>
              <a:rPr lang="de-AT" sz="2400" dirty="0" err="1">
                <a:solidFill>
                  <a:schemeClr val="accent6"/>
                </a:solidFill>
              </a:rPr>
              <a:t>Mandated</a:t>
            </a:r>
            <a:r>
              <a:rPr lang="de-AT" sz="2400" dirty="0">
                <a:solidFill>
                  <a:schemeClr val="accent6"/>
                </a:solidFill>
              </a:rPr>
              <a:t> Organisation </a:t>
            </a:r>
            <a:r>
              <a:rPr lang="de-AT" sz="2400" dirty="0"/>
              <a:t>– eine Funktion, die rechtlich von </a:t>
            </a:r>
            <a:r>
              <a:rPr lang="de-AT" sz="2400" dirty="0">
                <a:solidFill>
                  <a:schemeClr val="accent6"/>
                </a:solidFill>
              </a:rPr>
              <a:t>ACONET Verein</a:t>
            </a:r>
            <a:r>
              <a:rPr lang="de-AT" sz="2400" dirty="0"/>
              <a:t> wahrgenommen wird</a:t>
            </a:r>
            <a:r>
              <a:rPr lang="de-AT" sz="180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.</a:t>
            </a:r>
            <a:r>
              <a:rPr lang="de-DE" sz="2400" b="1" dirty="0">
                <a:solidFill>
                  <a:schemeClr val="accent6"/>
                </a:solidFill>
              </a:rPr>
              <a:t> </a:t>
            </a:r>
            <a:endParaRPr lang="de-AT" sz="2400" dirty="0"/>
          </a:p>
        </p:txBody>
      </p:sp>
    </p:spTree>
    <p:extLst>
      <p:ext uri="{BB962C8B-B14F-4D97-AF65-F5344CB8AC3E}">
        <p14:creationId xmlns:p14="http://schemas.microsoft.com/office/powerpoint/2010/main" val="151744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EC47A-E489-32B0-E423-272C32C2A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F285725-DB23-DAFC-E597-049A702DF54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Ziel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D13464B-3C05-5255-A647-94528990CD7D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48A61F-1659-67A2-4BB9-D3633665ACBE}"/>
              </a:ext>
            </a:extLst>
          </p:cNvPr>
          <p:cNvSpPr txBox="1"/>
          <p:nvPr/>
        </p:nvSpPr>
        <p:spPr>
          <a:xfrm>
            <a:off x="204664" y="2430379"/>
            <a:ext cx="11647025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Koordinierung</a:t>
            </a:r>
            <a:r>
              <a:rPr lang="de-DE" sz="2500" dirty="0"/>
              <a:t> der österreichischen Beiträge zur Umsetzung der EOSC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000" dirty="0"/>
              <a:t>Verstehen der Anforderungen, Bedürfnisse und Erwartungen von Forscher*innen und ihren Institutionen</a:t>
            </a:r>
          </a:p>
          <a:p>
            <a:pPr lvl="1" algn="just"/>
            <a:endParaRPr lang="de-DE" sz="22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Unterstützung</a:t>
            </a:r>
            <a:r>
              <a:rPr lang="de-DE" sz="2500" dirty="0"/>
              <a:t> der österreichischen Institution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Hervorheben der Relevanz von EOSC für verschiedene Gemeinschaften und deren Bedürfnisse</a:t>
            </a:r>
          </a:p>
          <a:p>
            <a:pPr lvl="1" algn="just"/>
            <a:endParaRPr lang="de-DE" sz="22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Förderung</a:t>
            </a:r>
            <a:r>
              <a:rPr lang="de-DE" sz="2500" dirty="0"/>
              <a:t> der „EOSC-</a:t>
            </a:r>
            <a:r>
              <a:rPr lang="de-DE" sz="2500" dirty="0" err="1"/>
              <a:t>Readiness</a:t>
            </a:r>
            <a:r>
              <a:rPr lang="de-DE" sz="2500" dirty="0"/>
              <a:t>“ bei den Partnerinstitution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Vermitteln der wesentlichen Informationen</a:t>
            </a:r>
          </a:p>
          <a:p>
            <a:pPr algn="just"/>
            <a:endParaRPr lang="de-DE" sz="2500" dirty="0"/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594322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17038-9B51-65B7-6CA8-F7C041955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673DC67-11E6-3F03-090C-16B28E9BDE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Angebot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4E4399B-38CE-5042-9392-44447500F367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96B037-5077-B55C-B6CA-BFF7A235E1B6}"/>
              </a:ext>
            </a:extLst>
          </p:cNvPr>
          <p:cNvSpPr txBox="1"/>
          <p:nvPr/>
        </p:nvSpPr>
        <p:spPr>
          <a:xfrm>
            <a:off x="204664" y="2430379"/>
            <a:ext cx="1164702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Harmonisierung der Entwicklungen und </a:t>
            </a:r>
            <a:r>
              <a:rPr lang="de-DE" sz="2400" dirty="0">
                <a:solidFill>
                  <a:schemeClr val="accent6"/>
                </a:solidFill>
              </a:rPr>
              <a:t>Aufbau einer EOSC-Community </a:t>
            </a:r>
            <a:r>
              <a:rPr lang="de-DE" sz="2400" dirty="0"/>
              <a:t>durch starke nationale und internationale Vernetz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Austausch mit anderen europäischen Partnern für den Aufbau von thematischen und nationalen </a:t>
            </a:r>
            <a:r>
              <a:rPr lang="de-DE" sz="2400" dirty="0">
                <a:solidFill>
                  <a:schemeClr val="accent6"/>
                </a:solidFill>
              </a:rPr>
              <a:t>EOSC No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Bereitstellung von </a:t>
            </a:r>
            <a:r>
              <a:rPr lang="de-DE" sz="2400" dirty="0">
                <a:solidFill>
                  <a:schemeClr val="accent6"/>
                </a:solidFill>
              </a:rPr>
              <a:t>Leitlinien </a:t>
            </a:r>
            <a:r>
              <a:rPr lang="de-DE" sz="2400" dirty="0"/>
              <a:t>und </a:t>
            </a:r>
            <a:r>
              <a:rPr lang="de-DE" sz="2400" dirty="0" err="1">
                <a:solidFill>
                  <a:schemeClr val="accent6"/>
                </a:solidFill>
              </a:rPr>
              <a:t>Good</a:t>
            </a:r>
            <a:r>
              <a:rPr lang="de-DE" sz="2400" dirty="0">
                <a:solidFill>
                  <a:schemeClr val="accent6"/>
                </a:solidFill>
              </a:rPr>
              <a:t> Practices </a:t>
            </a:r>
            <a:r>
              <a:rPr lang="de-DE" sz="2400" dirty="0"/>
              <a:t>für den Aufbau von EOSC Nod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Vernetzung von Forscher*innen, Infrastrukturanbieter*innen und Management zur </a:t>
            </a:r>
            <a:r>
              <a:rPr lang="de-DE" sz="2400" dirty="0">
                <a:solidFill>
                  <a:schemeClr val="accent6"/>
                </a:solidFill>
              </a:rPr>
              <a:t>Bereitstellung </a:t>
            </a:r>
            <a:r>
              <a:rPr lang="de-DE" sz="2400" dirty="0"/>
              <a:t>und zum </a:t>
            </a:r>
            <a:r>
              <a:rPr lang="de-DE" sz="2400" dirty="0">
                <a:solidFill>
                  <a:schemeClr val="accent6"/>
                </a:solidFill>
              </a:rPr>
              <a:t>Betrieb von EOSC-Servic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Abstimmung der Schritte, die für die </a:t>
            </a:r>
            <a:r>
              <a:rPr lang="de-DE" sz="2400" dirty="0">
                <a:solidFill>
                  <a:schemeClr val="accent6"/>
                </a:solidFill>
              </a:rPr>
              <a:t>Teilnahme</a:t>
            </a:r>
            <a:r>
              <a:rPr lang="de-DE" sz="2400" dirty="0"/>
              <a:t> an der EOSC-Föderation und weiteren Entwicklungen erforderlich sin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Informationen zu </a:t>
            </a:r>
            <a:r>
              <a:rPr lang="de-DE" sz="2400" dirty="0">
                <a:solidFill>
                  <a:schemeClr val="accent6"/>
                </a:solidFill>
              </a:rPr>
              <a:t>Finanzierungs- und Kooperationsmöglichkeiten</a:t>
            </a:r>
          </a:p>
        </p:txBody>
      </p:sp>
    </p:spTree>
    <p:extLst>
      <p:ext uri="{BB962C8B-B14F-4D97-AF65-F5344CB8AC3E}">
        <p14:creationId xmlns:p14="http://schemas.microsoft.com/office/powerpoint/2010/main" val="3005229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C9672-FD81-FD5A-ED7F-93285D668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F68B09-4916-E329-3557-C5B4A666020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Partner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EA595455-C822-E906-D29A-07C7A718B0FC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D33E9-5D22-9A0F-BFA2-32ACE7BCD61B}"/>
              </a:ext>
            </a:extLst>
          </p:cNvPr>
          <p:cNvSpPr txBox="1"/>
          <p:nvPr/>
        </p:nvSpPr>
        <p:spPr>
          <a:xfrm>
            <a:off x="204664" y="2430379"/>
            <a:ext cx="5716076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100" dirty="0"/>
              <a:t>EOSC SOA ist der Zusammenschluss von </a:t>
            </a:r>
            <a:r>
              <a:rPr lang="de-DE" sz="2100" dirty="0">
                <a:solidFill>
                  <a:schemeClr val="accent6"/>
                </a:solidFill>
              </a:rPr>
              <a:t>österreichischen Institutionen</a:t>
            </a:r>
            <a:r>
              <a:rPr lang="de-DE" sz="2100" dirty="0"/>
              <a:t>. Ziel ist die gemeinsame </a:t>
            </a:r>
            <a:r>
              <a:rPr lang="de-DE" sz="2100" dirty="0">
                <a:solidFill>
                  <a:schemeClr val="accent6"/>
                </a:solidFill>
              </a:rPr>
              <a:t>Integration von Forschungsinfrastrukturen in die europäische </a:t>
            </a:r>
            <a:r>
              <a:rPr lang="de-DE" sz="2100" dirty="0"/>
              <a:t>Landschaft. Jede Institution in Österreich kann Partner der Initiative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100" dirty="0"/>
              <a:t>EOSC SOA ist die operative Einheit des </a:t>
            </a:r>
            <a:r>
              <a:rPr lang="de-DE" sz="2100" dirty="0">
                <a:solidFill>
                  <a:schemeClr val="accent6"/>
                </a:solidFill>
              </a:rPr>
              <a:t>ACONET Vereins </a:t>
            </a:r>
            <a:r>
              <a:rPr lang="de-DE" sz="2100" dirty="0"/>
              <a:t>als </a:t>
            </a:r>
            <a:r>
              <a:rPr lang="de-DE" sz="2100" dirty="0">
                <a:solidFill>
                  <a:schemeClr val="accent6"/>
                </a:solidFill>
              </a:rPr>
              <a:t>Austrian EOSC </a:t>
            </a:r>
            <a:r>
              <a:rPr lang="de-DE" sz="2100" dirty="0" err="1">
                <a:solidFill>
                  <a:schemeClr val="accent6"/>
                </a:solidFill>
              </a:rPr>
              <a:t>Mandated</a:t>
            </a:r>
            <a:r>
              <a:rPr lang="de-DE" sz="2100" dirty="0">
                <a:solidFill>
                  <a:schemeClr val="accent6"/>
                </a:solidFill>
              </a:rPr>
              <a:t> Organisation </a:t>
            </a:r>
            <a:r>
              <a:rPr lang="de-DE" sz="2100" dirty="0"/>
              <a:t>und wird in ausgewählten Bereichen durch das </a:t>
            </a:r>
            <a:r>
              <a:rPr lang="de-DE" sz="2100" dirty="0">
                <a:solidFill>
                  <a:schemeClr val="accent6"/>
                </a:solidFill>
              </a:rPr>
              <a:t>BMBWF</a:t>
            </a:r>
            <a:r>
              <a:rPr lang="de-DE" sz="2100" dirty="0"/>
              <a:t> finanziert.</a:t>
            </a:r>
          </a:p>
          <a:p>
            <a:pPr algn="just"/>
            <a:endParaRPr lang="de-AT" sz="2500" dirty="0"/>
          </a:p>
        </p:txBody>
      </p:sp>
      <p:pic>
        <p:nvPicPr>
          <p:cNvPr id="7" name="Picture 6" descr="A logo with text on it&#10;&#10;AI-generated content may be incorrect.">
            <a:extLst>
              <a:ext uri="{FF2B5EF4-FFF2-40B4-BE49-F238E27FC236}">
                <a16:creationId xmlns:a16="http://schemas.microsoft.com/office/drawing/2014/main" id="{5DE346C5-0B93-72A0-257B-25C9AA3E8C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06" b="34695"/>
          <a:stretch>
            <a:fillRect/>
          </a:stretch>
        </p:blipFill>
        <p:spPr>
          <a:xfrm>
            <a:off x="6216768" y="1578628"/>
            <a:ext cx="2933848" cy="577858"/>
          </a:xfrm>
          <a:prstGeom prst="rect">
            <a:avLst/>
          </a:prstGeom>
        </p:spPr>
      </p:pic>
      <p:pic>
        <p:nvPicPr>
          <p:cNvPr id="10" name="Picture 9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0E98D1E9-E57E-75D5-8DD4-AAC0C23254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1706" y="3056974"/>
            <a:ext cx="1366894" cy="525432"/>
          </a:xfrm>
          <a:prstGeom prst="rect">
            <a:avLst/>
          </a:prstGeom>
        </p:spPr>
      </p:pic>
      <p:pic>
        <p:nvPicPr>
          <p:cNvPr id="11" name="Picture 10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3B471BB-00EF-18D1-E177-4DA518BC35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935" y="3981117"/>
            <a:ext cx="1255896" cy="292611"/>
          </a:xfrm>
          <a:prstGeom prst="rect">
            <a:avLst/>
          </a:prstGeom>
        </p:spPr>
      </p:pic>
      <p:pic>
        <p:nvPicPr>
          <p:cNvPr id="12" name="Picture 11" descr="A blue and black logo&#10;&#10;AI-generated content may be incorrect.">
            <a:extLst>
              <a:ext uri="{FF2B5EF4-FFF2-40B4-BE49-F238E27FC236}">
                <a16:creationId xmlns:a16="http://schemas.microsoft.com/office/drawing/2014/main" id="{0EE55E6F-1DF1-F99B-3B55-5DFC4E1815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1596" y="5017578"/>
            <a:ext cx="1500610" cy="503082"/>
          </a:xfrm>
          <a:prstGeom prst="rect">
            <a:avLst/>
          </a:prstGeom>
        </p:spPr>
      </p:pic>
      <p:pic>
        <p:nvPicPr>
          <p:cNvPr id="13" name="Picture 1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978B157-C371-827A-3D85-8FA852E4E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016" y="2877234"/>
            <a:ext cx="1491725" cy="446543"/>
          </a:xfrm>
          <a:prstGeom prst="rect">
            <a:avLst/>
          </a:prstGeom>
        </p:spPr>
      </p:pic>
      <p:pic>
        <p:nvPicPr>
          <p:cNvPr id="14" name="Picture 13" descr="A black and white logo&#10;&#10;AI-generated content may be incorrect.">
            <a:extLst>
              <a:ext uri="{FF2B5EF4-FFF2-40B4-BE49-F238E27FC236}">
                <a16:creationId xmlns:a16="http://schemas.microsoft.com/office/drawing/2014/main" id="{D6C722D2-C22C-A5BB-F32E-27B7C445AF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293" y="4499506"/>
            <a:ext cx="1022669" cy="487734"/>
          </a:xfrm>
          <a:prstGeom prst="rect">
            <a:avLst/>
          </a:prstGeom>
        </p:spPr>
      </p:pic>
      <p:pic>
        <p:nvPicPr>
          <p:cNvPr id="15" name="Picture 14" descr="A blue and white sign with black text&#10;&#10;AI-generated content may be incorrect.">
            <a:extLst>
              <a:ext uri="{FF2B5EF4-FFF2-40B4-BE49-F238E27FC236}">
                <a16:creationId xmlns:a16="http://schemas.microsoft.com/office/drawing/2014/main" id="{7806134D-97C3-FA69-CE53-1D5029A5BFA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283" y="3547452"/>
            <a:ext cx="1362788" cy="515246"/>
          </a:xfrm>
          <a:prstGeom prst="rect">
            <a:avLst/>
          </a:prstGeom>
        </p:spPr>
      </p:pic>
      <p:pic>
        <p:nvPicPr>
          <p:cNvPr id="16" name="Picture 15" descr="A light bulb with a cross&#10;&#10;AI-generated content may be incorrect.">
            <a:extLst>
              <a:ext uri="{FF2B5EF4-FFF2-40B4-BE49-F238E27FC236}">
                <a16:creationId xmlns:a16="http://schemas.microsoft.com/office/drawing/2014/main" id="{09E4A8BA-DA4D-3801-0C2F-2C04FE1897C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2382263"/>
            <a:ext cx="1120367" cy="569915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0BC00F08-960E-8A26-4251-CF6E7E8A731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899299" y="2076695"/>
            <a:ext cx="1532852" cy="523538"/>
          </a:xfrm>
          <a:prstGeom prst="rect">
            <a:avLst/>
          </a:prstGeom>
        </p:spPr>
      </p:pic>
      <p:pic>
        <p:nvPicPr>
          <p:cNvPr id="18" name="Picture 17" descr="A close-up of a logo&#10;&#10;AI-generated content may be incorrect.">
            <a:extLst>
              <a:ext uri="{FF2B5EF4-FFF2-40B4-BE49-F238E27FC236}">
                <a16:creationId xmlns:a16="http://schemas.microsoft.com/office/drawing/2014/main" id="{53C1ADAD-C982-D342-2884-B1CAF690B8B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9065" y="2484421"/>
            <a:ext cx="1809535" cy="31659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1B1371A-6F08-69E2-4213-FD4632B3AF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512640" y="3075317"/>
            <a:ext cx="807424" cy="695181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5D1B70-FE06-506D-D45D-EEA74625755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87199" y="4168899"/>
            <a:ext cx="1505112" cy="752556"/>
          </a:xfrm>
          <a:prstGeom prst="rect">
            <a:avLst/>
          </a:prstGeom>
        </p:spPr>
      </p:pic>
      <p:pic>
        <p:nvPicPr>
          <p:cNvPr id="21" name="Picture 20" descr="A logo with blue text&#10;&#10;AI-generated content may be incorrect.">
            <a:extLst>
              <a:ext uri="{FF2B5EF4-FFF2-40B4-BE49-F238E27FC236}">
                <a16:creationId xmlns:a16="http://schemas.microsoft.com/office/drawing/2014/main" id="{E1E16E71-8832-F331-9F1B-93C2B045A5E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419" y="4963119"/>
            <a:ext cx="1450825" cy="726269"/>
          </a:xfrm>
          <a:prstGeom prst="rect">
            <a:avLst/>
          </a:prstGeom>
        </p:spPr>
      </p:pic>
      <p:pic>
        <p:nvPicPr>
          <p:cNvPr id="22" name="Picture 21" descr="A black and white logo&#10;&#10;AI-generated content may be incorrect.">
            <a:extLst>
              <a:ext uri="{FF2B5EF4-FFF2-40B4-BE49-F238E27FC236}">
                <a16:creationId xmlns:a16="http://schemas.microsoft.com/office/drawing/2014/main" id="{044363C0-41FB-6E0B-A5A5-771F7F5AB05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120" y="4152032"/>
            <a:ext cx="1082815" cy="812341"/>
          </a:xfrm>
          <a:prstGeom prst="rect">
            <a:avLst/>
          </a:prstGeom>
        </p:spPr>
      </p:pic>
      <p:pic>
        <p:nvPicPr>
          <p:cNvPr id="23" name="Picture 22" descr="A close-up of a logo&#10;&#10;AI-generated content may be incorrect.">
            <a:extLst>
              <a:ext uri="{FF2B5EF4-FFF2-40B4-BE49-F238E27FC236}">
                <a16:creationId xmlns:a16="http://schemas.microsoft.com/office/drawing/2014/main" id="{72392AD1-E5F8-EBEF-D712-5918E24ADD0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263" y="5005231"/>
            <a:ext cx="890626" cy="632813"/>
          </a:xfrm>
          <a:prstGeom prst="rect">
            <a:avLst/>
          </a:prstGeom>
        </p:spPr>
      </p:pic>
      <p:pic>
        <p:nvPicPr>
          <p:cNvPr id="24" name="Picture 23" descr="A black background with red and grey text&#10;&#10;AI-generated content may be incorrect.">
            <a:extLst>
              <a:ext uri="{FF2B5EF4-FFF2-40B4-BE49-F238E27FC236}">
                <a16:creationId xmlns:a16="http://schemas.microsoft.com/office/drawing/2014/main" id="{76520019-667B-40B5-646B-098EAB59F6C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434" y="3770498"/>
            <a:ext cx="1479166" cy="3586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CC64F1-75ED-0068-AE6C-10636E1120D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52" y="5596896"/>
            <a:ext cx="1082816" cy="49227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3DCAAD7-86B7-D554-1C96-605316E8F84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497" y="5656203"/>
            <a:ext cx="1082816" cy="46922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7394197-FABB-4F82-62EA-C295EB45859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263" y="5638044"/>
            <a:ext cx="1183981" cy="60138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44D1C22-7EE2-9D96-1C8E-E51C1E035AA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348" y="1465373"/>
            <a:ext cx="2031543" cy="9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8813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51859C-337B-23B4-5FEB-C5249C13D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083516-467F-A5D0-74B5-F33022C2CAC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5EFA4B2-F319-8D37-209E-D9AC3B38C5E3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197B96-15BD-8C4A-84BE-3CF6AC3565F9}"/>
              </a:ext>
            </a:extLst>
          </p:cNvPr>
          <p:cNvSpPr txBox="1"/>
          <p:nvPr/>
        </p:nvSpPr>
        <p:spPr>
          <a:xfrm>
            <a:off x="204664" y="2430379"/>
            <a:ext cx="11647025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Die </a:t>
            </a:r>
            <a:r>
              <a:rPr lang="de-DE" sz="2500" dirty="0">
                <a:solidFill>
                  <a:schemeClr val="accent6"/>
                </a:solidFill>
              </a:rPr>
              <a:t>EOSC SOA Community wächst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Stand Oktober 2021: 8 Partner, Stand Jänner 2025: 16 Partner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Jährliche </a:t>
            </a:r>
            <a:r>
              <a:rPr lang="de-DE" sz="2500" dirty="0" err="1">
                <a:solidFill>
                  <a:schemeClr val="accent6"/>
                </a:solidFill>
              </a:rPr>
              <a:t>Activity</a:t>
            </a:r>
            <a:r>
              <a:rPr lang="de-DE" sz="2500" dirty="0">
                <a:solidFill>
                  <a:schemeClr val="accent6"/>
                </a:solidFill>
              </a:rPr>
              <a:t> Reports</a:t>
            </a:r>
            <a:r>
              <a:rPr lang="de-DE" sz="2500" dirty="0"/>
              <a:t>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2023/24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3839287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2022/23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8063171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Vierteljährliche </a:t>
            </a:r>
            <a:r>
              <a:rPr lang="de-DE" sz="2500" dirty="0">
                <a:solidFill>
                  <a:schemeClr val="accent6"/>
                </a:solidFill>
              </a:rPr>
              <a:t>Austrian Country </a:t>
            </a:r>
            <a:r>
              <a:rPr lang="de-DE" sz="2500" dirty="0" err="1">
                <a:solidFill>
                  <a:schemeClr val="accent6"/>
                </a:solidFill>
              </a:rPr>
              <a:t>Profiles</a:t>
            </a:r>
            <a:r>
              <a:rPr lang="de-DE" sz="2500" dirty="0"/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Dokumentation des österreichischen Status Quo im Zusammenhang mit Richtlinien, Projekten und Aktivitäten, die Open Science, FAIR sowie Forschungsdaten(</a:t>
            </a:r>
            <a:r>
              <a:rPr lang="de-DE" sz="2200" dirty="0" err="1"/>
              <a:t>management</a:t>
            </a:r>
            <a:r>
              <a:rPr lang="de-DE" sz="2200" dirty="0"/>
              <a:t>)-Infrastrukturen betreff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Aktuelle Ausgabe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3860938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Newsletter Serie: </a:t>
            </a:r>
            <a:r>
              <a:rPr lang="de-DE" sz="24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newsletter/</a:t>
            </a:r>
            <a:r>
              <a:rPr lang="de-DE" sz="2400" dirty="0">
                <a:solidFill>
                  <a:schemeClr val="accent6">
                    <a:lumMod val="60000"/>
                    <a:lumOff val="40000"/>
                  </a:schemeClr>
                </a:solidFill>
                <a:highlight>
                  <a:srgbClr val="FFFF00"/>
                </a:highlight>
              </a:rPr>
              <a:t> 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  <a:highlight>
                <a:srgbClr val="FFFF00"/>
              </a:highlight>
            </a:endParaRP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de-DE" sz="2200" dirty="0"/>
          </a:p>
        </p:txBody>
      </p:sp>
    </p:spTree>
    <p:extLst>
      <p:ext uri="{BB962C8B-B14F-4D97-AF65-F5344CB8AC3E}">
        <p14:creationId xmlns:p14="http://schemas.microsoft.com/office/powerpoint/2010/main" val="1029917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653E1-539E-E5A2-678A-6BC97649A2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16159C5-DB0F-F9CD-6637-11C3C2EE40B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D6582D0-7493-98D4-8743-103900453FB5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E519E8-FDEE-05F5-D310-790A42D5D0CF}"/>
              </a:ext>
            </a:extLst>
          </p:cNvPr>
          <p:cNvSpPr txBox="1"/>
          <p:nvPr/>
        </p:nvSpPr>
        <p:spPr>
          <a:xfrm>
            <a:off x="204664" y="2430379"/>
            <a:ext cx="11647025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Knowledge Snacks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Knowledge Snacks bringen komplexe Inhalte in schnell lesbare und verständliche Formate</a:t>
            </a:r>
          </a:p>
          <a:p>
            <a:pPr marL="800100" lvl="1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osc-soa-materials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Interviewserie mit Forscher*inne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Erhebung von Anforderungen was den Umgang mit Forschungsdaten &amp; Vertrauen in deren Qualität betrifft</a:t>
            </a:r>
          </a:p>
          <a:p>
            <a:pPr marL="800100" lvl="1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wgreaeoscsoa/records?q=&amp;l=list&amp;p=1&amp;s=10&amp;sort=newest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Poster: </a:t>
            </a:r>
            <a:r>
              <a:rPr lang="de-DE" sz="25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4745686</a:t>
            </a:r>
            <a:r>
              <a:rPr lang="de-DE" sz="25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de-AT" sz="25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259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056</Words>
  <Application>Microsoft Office PowerPoint</Application>
  <PresentationFormat>Widescreen</PresentationFormat>
  <Paragraphs>124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Century Gothic</vt:lpstr>
      <vt:lpstr>Times New Roman</vt:lpstr>
      <vt:lpstr>Calibri</vt:lpstr>
      <vt:lpstr>Arial</vt:lpstr>
      <vt:lpstr>Calibri Light</vt:lpstr>
      <vt:lpstr>Aptos</vt:lpstr>
      <vt:lpstr>TU Wien</vt:lpstr>
      <vt:lpstr>EOSC Support Office Austria </vt:lpstr>
      <vt:lpstr>Überblick</vt:lpstr>
      <vt:lpstr>Vision</vt:lpstr>
      <vt:lpstr>Umsetzung</vt:lpstr>
      <vt:lpstr>Ziele</vt:lpstr>
      <vt:lpstr>Angebote</vt:lpstr>
      <vt:lpstr>Partner</vt:lpstr>
      <vt:lpstr>Bisherige Ergebnisse</vt:lpstr>
      <vt:lpstr>Bisherige Ergebnisse</vt:lpstr>
      <vt:lpstr>Bisherige Ergebnisse</vt:lpstr>
      <vt:lpstr>Nächste Schritte</vt:lpstr>
      <vt:lpstr>Möglichkeiten der Teilnahme</vt:lpstr>
      <vt:lpstr>Mitgliedschaft</vt:lpstr>
      <vt:lpstr>Weiterführende Links</vt:lpstr>
      <vt:lpstr>Weiterführende Links</vt:lpstr>
    </vt:vector>
  </TitlesOfParts>
  <Company>Technische Universität Wi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 (Folienlayout „Titelfolie mit Bild“)</dc:title>
  <dc:creator>Bernd Saurugger</dc:creator>
  <cp:lastModifiedBy>Saurugger, Bernd</cp:lastModifiedBy>
  <cp:revision>220</cp:revision>
  <dcterms:created xsi:type="dcterms:W3CDTF">2022-05-16T08:00:58Z</dcterms:created>
  <dcterms:modified xsi:type="dcterms:W3CDTF">2025-09-30T08:3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